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129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298A6-61D9-B040-B48D-757A4C598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cess Slide – Business Workflow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0600EB7-0518-8426-3CDE-589F454458CA}"/>
              </a:ext>
            </a:extLst>
          </p:cNvPr>
          <p:cNvGrpSpPr/>
          <p:nvPr/>
        </p:nvGrpSpPr>
        <p:grpSpPr>
          <a:xfrm>
            <a:off x="2106390" y="2644257"/>
            <a:ext cx="14075220" cy="5816375"/>
            <a:chOff x="2106390" y="3009900"/>
            <a:chExt cx="14075220" cy="5816375"/>
          </a:xfrm>
        </p:grpSpPr>
        <p:sp>
          <p:nvSpPr>
            <p:cNvPr id="28" name="矩形 47">
              <a:extLst>
                <a:ext uri="{FF2B5EF4-FFF2-40B4-BE49-F238E27FC236}">
                  <a16:creationId xmlns:a16="http://schemas.microsoft.com/office/drawing/2014/main" id="{C2976ACE-68C7-89D2-7A82-57F9AC7A1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454" y="3009900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sp>
          <p:nvSpPr>
            <p:cNvPr id="29" name="矩形 47">
              <a:extLst>
                <a:ext uri="{FF2B5EF4-FFF2-40B4-BE49-F238E27FC236}">
                  <a16:creationId xmlns:a16="http://schemas.microsoft.com/office/drawing/2014/main" id="{04159363-A0A0-9E86-687C-36269D1220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390" y="4611798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sp>
          <p:nvSpPr>
            <p:cNvPr id="30" name="矩形 47">
              <a:extLst>
                <a:ext uri="{FF2B5EF4-FFF2-40B4-BE49-F238E27FC236}">
                  <a16:creationId xmlns:a16="http://schemas.microsoft.com/office/drawing/2014/main" id="{E560DB0E-293D-8363-7456-4F13FCEAC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3989" y="6331089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sp>
          <p:nvSpPr>
            <p:cNvPr id="31" name="矩形 47">
              <a:extLst>
                <a:ext uri="{FF2B5EF4-FFF2-40B4-BE49-F238E27FC236}">
                  <a16:creationId xmlns:a16="http://schemas.microsoft.com/office/drawing/2014/main" id="{16E74BC0-3D2C-666A-56F7-0359D5ED2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31611" y="3926556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sp>
          <p:nvSpPr>
            <p:cNvPr id="32" name="矩形 40">
              <a:extLst>
                <a:ext uri="{FF2B5EF4-FFF2-40B4-BE49-F238E27FC236}">
                  <a16:creationId xmlns:a16="http://schemas.microsoft.com/office/drawing/2014/main" id="{0DB9416B-F443-321F-3C76-01045C4A9F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31611" y="6183085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sp>
          <p:nvSpPr>
            <p:cNvPr id="33" name="矩形 47">
              <a:extLst>
                <a:ext uri="{FF2B5EF4-FFF2-40B4-BE49-F238E27FC236}">
                  <a16:creationId xmlns:a16="http://schemas.microsoft.com/office/drawing/2014/main" id="{D66DF554-EE45-FEDA-BB6B-624A04DAE2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31611" y="7656732"/>
              <a:ext cx="3149999" cy="11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 your titl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altLang="zh-CN" sz="2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your text here</a:t>
              </a: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B46A720B-D872-5984-17E5-C7BA2C41C9D0}"/>
                </a:ext>
              </a:extLst>
            </p:cNvPr>
            <p:cNvGrpSpPr/>
            <p:nvPr/>
          </p:nvGrpSpPr>
          <p:grpSpPr>
            <a:xfrm>
              <a:off x="8844215" y="7466707"/>
              <a:ext cx="3608288" cy="961356"/>
              <a:chOff x="8844215" y="7466707"/>
              <a:chExt cx="3608288" cy="961356"/>
            </a:xfrm>
          </p:grpSpPr>
          <p:sp>
            <p:nvSpPr>
              <p:cNvPr id="7" name="任意多边形 13">
                <a:extLst>
                  <a:ext uri="{FF2B5EF4-FFF2-40B4-BE49-F238E27FC236}">
                    <a16:creationId xmlns:a16="http://schemas.microsoft.com/office/drawing/2014/main" id="{C38DDB35-E58B-798E-8B1C-E3C9E2C6BF63}"/>
                  </a:ext>
                </a:extLst>
              </p:cNvPr>
              <p:cNvSpPr/>
              <p:nvPr/>
            </p:nvSpPr>
            <p:spPr>
              <a:xfrm>
                <a:off x="9850134" y="8193747"/>
                <a:ext cx="2602369" cy="0"/>
              </a:xfrm>
              <a:custGeom>
                <a:avLst/>
                <a:gdLst>
                  <a:gd name="connsiteX0" fmla="*/ 0 w 2217420"/>
                  <a:gd name="connsiteY0" fmla="*/ 0 h 0"/>
                  <a:gd name="connsiteX1" fmla="*/ 2217420 w 221742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7420">
                    <a:moveTo>
                      <a:pt x="0" y="0"/>
                    </a:moveTo>
                    <a:lnTo>
                      <a:pt x="2217420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2" name="组合 16">
                <a:extLst>
                  <a:ext uri="{FF2B5EF4-FFF2-40B4-BE49-F238E27FC236}">
                    <a16:creationId xmlns:a16="http://schemas.microsoft.com/office/drawing/2014/main" id="{BE9D4928-1DCC-AE9B-F380-B028A4955066}"/>
                  </a:ext>
                </a:extLst>
              </p:cNvPr>
              <p:cNvGrpSpPr/>
              <p:nvPr/>
            </p:nvGrpSpPr>
            <p:grpSpPr>
              <a:xfrm>
                <a:off x="8844215" y="7466707"/>
                <a:ext cx="1244546" cy="961356"/>
                <a:chOff x="6016285" y="5216439"/>
                <a:chExt cx="1060450" cy="819150"/>
              </a:xfrm>
              <a:solidFill>
                <a:schemeClr val="accent1"/>
              </a:solidFill>
            </p:grpSpPr>
            <p:sp>
              <p:nvSpPr>
                <p:cNvPr id="73" name="Freeform 6">
                  <a:extLst>
                    <a:ext uri="{FF2B5EF4-FFF2-40B4-BE49-F238E27FC236}">
                      <a16:creationId xmlns:a16="http://schemas.microsoft.com/office/drawing/2014/main" id="{5E41A31A-E93C-7D53-528C-07C3BFD628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6016285" y="5216439"/>
                  <a:ext cx="1060450" cy="819150"/>
                </a:xfrm>
                <a:custGeom>
                  <a:avLst/>
                  <a:gdLst>
                    <a:gd name="T0" fmla="*/ 24 w 392"/>
                    <a:gd name="T1" fmla="*/ 38 h 303"/>
                    <a:gd name="T2" fmla="*/ 1 w 392"/>
                    <a:gd name="T3" fmla="*/ 274 h 303"/>
                    <a:gd name="T4" fmla="*/ 18 w 392"/>
                    <a:gd name="T5" fmla="*/ 290 h 303"/>
                    <a:gd name="T6" fmla="*/ 378 w 392"/>
                    <a:gd name="T7" fmla="*/ 253 h 303"/>
                    <a:gd name="T8" fmla="*/ 387 w 392"/>
                    <a:gd name="T9" fmla="*/ 235 h 303"/>
                    <a:gd name="T10" fmla="*/ 305 w 392"/>
                    <a:gd name="T11" fmla="*/ 8 h 303"/>
                    <a:gd name="T12" fmla="*/ 292 w 392"/>
                    <a:gd name="T13" fmla="*/ 2 h 303"/>
                    <a:gd name="T14" fmla="*/ 41 w 392"/>
                    <a:gd name="T15" fmla="*/ 25 h 303"/>
                    <a:gd name="T16" fmla="*/ 24 w 392"/>
                    <a:gd name="T17" fmla="*/ 38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2" h="303">
                      <a:moveTo>
                        <a:pt x="24" y="38"/>
                      </a:move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0" y="289"/>
                        <a:pt x="8" y="289"/>
                        <a:pt x="18" y="290"/>
                      </a:cubicBezTo>
                      <a:cubicBezTo>
                        <a:pt x="86" y="296"/>
                        <a:pt x="227" y="303"/>
                        <a:pt x="378" y="253"/>
                      </a:cubicBezTo>
                      <a:cubicBezTo>
                        <a:pt x="392" y="248"/>
                        <a:pt x="387" y="235"/>
                        <a:pt x="387" y="235"/>
                      </a:cubicBezTo>
                      <a:cubicBezTo>
                        <a:pt x="305" y="8"/>
                        <a:pt x="305" y="8"/>
                        <a:pt x="305" y="8"/>
                      </a:cubicBezTo>
                      <a:cubicBezTo>
                        <a:pt x="304" y="4"/>
                        <a:pt x="301" y="0"/>
                        <a:pt x="292" y="2"/>
                      </a:cubicBezTo>
                      <a:cubicBezTo>
                        <a:pt x="195" y="28"/>
                        <a:pt x="97" y="28"/>
                        <a:pt x="41" y="25"/>
                      </a:cubicBezTo>
                      <a:cubicBezTo>
                        <a:pt x="27" y="24"/>
                        <a:pt x="25" y="28"/>
                        <a:pt x="24" y="3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" name="矩形 18">
                  <a:extLst>
                    <a:ext uri="{FF2B5EF4-FFF2-40B4-BE49-F238E27FC236}">
                      <a16:creationId xmlns:a16="http://schemas.microsoft.com/office/drawing/2014/main" id="{38CF64C9-72EE-EE35-EF7B-4F1FED889E30}"/>
                    </a:ext>
                  </a:extLst>
                </p:cNvPr>
                <p:cNvSpPr/>
                <p:nvPr/>
              </p:nvSpPr>
              <p:spPr>
                <a:xfrm>
                  <a:off x="6051460" y="5430694"/>
                  <a:ext cx="890516" cy="445824"/>
                </a:xfrm>
                <a:prstGeom prst="rect">
                  <a:avLst/>
                </a:prstGeom>
                <a:noFill/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1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8361BB2C-17BA-78D0-54AA-B85415E5012C}"/>
                </a:ext>
              </a:extLst>
            </p:cNvPr>
            <p:cNvGrpSpPr/>
            <p:nvPr/>
          </p:nvGrpSpPr>
          <p:grpSpPr>
            <a:xfrm>
              <a:off x="9931131" y="6614415"/>
              <a:ext cx="2709172" cy="1186790"/>
              <a:chOff x="9931131" y="6614415"/>
              <a:chExt cx="2709172" cy="1186790"/>
            </a:xfrm>
          </p:grpSpPr>
          <p:sp>
            <p:nvSpPr>
              <p:cNvPr id="8" name="任意多边形 14">
                <a:extLst>
                  <a:ext uri="{FF2B5EF4-FFF2-40B4-BE49-F238E27FC236}">
                    <a16:creationId xmlns:a16="http://schemas.microsoft.com/office/drawing/2014/main" id="{09F09264-52EE-0E31-6711-1004D64BD765}"/>
                  </a:ext>
                </a:extLst>
              </p:cNvPr>
              <p:cNvSpPr/>
              <p:nvPr/>
            </p:nvSpPr>
            <p:spPr>
              <a:xfrm>
                <a:off x="11111076" y="6677934"/>
                <a:ext cx="1529227" cy="295114"/>
              </a:xfrm>
              <a:custGeom>
                <a:avLst/>
                <a:gdLst>
                  <a:gd name="connsiteX0" fmla="*/ 0 w 1303020"/>
                  <a:gd name="connsiteY0" fmla="*/ 251460 h 251460"/>
                  <a:gd name="connsiteX1" fmla="*/ 0 w 1303020"/>
                  <a:gd name="connsiteY1" fmla="*/ 0 h 251460"/>
                  <a:gd name="connsiteX2" fmla="*/ 1303020 w 1303020"/>
                  <a:gd name="connsiteY2" fmla="*/ 0 h 25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03020" h="251460">
                    <a:moveTo>
                      <a:pt x="0" y="251460"/>
                    </a:moveTo>
                    <a:lnTo>
                      <a:pt x="0" y="0"/>
                    </a:lnTo>
                    <a:lnTo>
                      <a:pt x="1303020" y="0"/>
                    </a:lnTo>
                  </a:path>
                </a:pathLst>
              </a:custGeom>
              <a:noFill/>
              <a:ln w="12700">
                <a:solidFill>
                  <a:schemeClr val="accent4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5" name="组合 19">
                <a:extLst>
                  <a:ext uri="{FF2B5EF4-FFF2-40B4-BE49-F238E27FC236}">
                    <a16:creationId xmlns:a16="http://schemas.microsoft.com/office/drawing/2014/main" id="{059E491E-D1DC-9476-6248-7ACFE46BDA80}"/>
                  </a:ext>
                </a:extLst>
              </p:cNvPr>
              <p:cNvGrpSpPr/>
              <p:nvPr/>
            </p:nvGrpSpPr>
            <p:grpSpPr>
              <a:xfrm>
                <a:off x="9931131" y="6614415"/>
                <a:ext cx="1272493" cy="1186790"/>
                <a:chOff x="6942422" y="4490220"/>
                <a:chExt cx="1084263" cy="1011237"/>
              </a:xfrm>
              <a:solidFill>
                <a:schemeClr val="accent4"/>
              </a:solidFill>
            </p:grpSpPr>
            <p:sp>
              <p:nvSpPr>
                <p:cNvPr id="76" name="Freeform 7">
                  <a:extLst>
                    <a:ext uri="{FF2B5EF4-FFF2-40B4-BE49-F238E27FC236}">
                      <a16:creationId xmlns:a16="http://schemas.microsoft.com/office/drawing/2014/main" id="{96A3F920-B3A8-B2CA-FDFE-FF057129B4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6942422" y="4490220"/>
                  <a:ext cx="1084263" cy="1011237"/>
                </a:xfrm>
                <a:custGeom>
                  <a:avLst/>
                  <a:gdLst>
                    <a:gd name="T0" fmla="*/ 387 w 401"/>
                    <a:gd name="T1" fmla="*/ 147 h 374"/>
                    <a:gd name="T2" fmla="*/ 206 w 401"/>
                    <a:gd name="T3" fmla="*/ 8 h 374"/>
                    <a:gd name="T4" fmla="*/ 184 w 401"/>
                    <a:gd name="T5" fmla="*/ 10 h 374"/>
                    <a:gd name="T6" fmla="*/ 14 w 401"/>
                    <a:gd name="T7" fmla="*/ 132 h 374"/>
                    <a:gd name="T8" fmla="*/ 5 w 401"/>
                    <a:gd name="T9" fmla="*/ 157 h 374"/>
                    <a:gd name="T10" fmla="*/ 107 w 401"/>
                    <a:gd name="T11" fmla="*/ 364 h 374"/>
                    <a:gd name="T12" fmla="*/ 134 w 401"/>
                    <a:gd name="T13" fmla="*/ 369 h 374"/>
                    <a:gd name="T14" fmla="*/ 368 w 401"/>
                    <a:gd name="T15" fmla="*/ 202 h 374"/>
                    <a:gd name="T16" fmla="*/ 391 w 401"/>
                    <a:gd name="T17" fmla="*/ 178 h 374"/>
                    <a:gd name="T18" fmla="*/ 387 w 401"/>
                    <a:gd name="T19" fmla="*/ 147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1" h="374">
                      <a:moveTo>
                        <a:pt x="387" y="147"/>
                      </a:moveTo>
                      <a:cubicBezTo>
                        <a:pt x="206" y="8"/>
                        <a:pt x="206" y="8"/>
                        <a:pt x="206" y="8"/>
                      </a:cubicBezTo>
                      <a:cubicBezTo>
                        <a:pt x="200" y="4"/>
                        <a:pt x="193" y="0"/>
                        <a:pt x="184" y="10"/>
                      </a:cubicBezTo>
                      <a:cubicBezTo>
                        <a:pt x="130" y="66"/>
                        <a:pt x="74" y="102"/>
                        <a:pt x="14" y="132"/>
                      </a:cubicBezTo>
                      <a:cubicBezTo>
                        <a:pt x="0" y="140"/>
                        <a:pt x="0" y="145"/>
                        <a:pt x="5" y="157"/>
                      </a:cubicBezTo>
                      <a:cubicBezTo>
                        <a:pt x="107" y="364"/>
                        <a:pt x="107" y="364"/>
                        <a:pt x="107" y="364"/>
                      </a:cubicBezTo>
                      <a:cubicBezTo>
                        <a:pt x="110" y="371"/>
                        <a:pt x="120" y="374"/>
                        <a:pt x="134" y="369"/>
                      </a:cubicBezTo>
                      <a:cubicBezTo>
                        <a:pt x="224" y="330"/>
                        <a:pt x="301" y="270"/>
                        <a:pt x="368" y="202"/>
                      </a:cubicBezTo>
                      <a:cubicBezTo>
                        <a:pt x="376" y="194"/>
                        <a:pt x="383" y="186"/>
                        <a:pt x="391" y="178"/>
                      </a:cubicBezTo>
                      <a:cubicBezTo>
                        <a:pt x="401" y="166"/>
                        <a:pt x="398" y="156"/>
                        <a:pt x="387" y="147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矩形 21">
                  <a:extLst>
                    <a:ext uri="{FF2B5EF4-FFF2-40B4-BE49-F238E27FC236}">
                      <a16:creationId xmlns:a16="http://schemas.microsoft.com/office/drawing/2014/main" id="{6A129AE9-6E9B-746A-C845-4D58E836D512}"/>
                    </a:ext>
                  </a:extLst>
                </p:cNvPr>
                <p:cNvSpPr/>
                <p:nvPr/>
              </p:nvSpPr>
              <p:spPr>
                <a:xfrm>
                  <a:off x="7011013" y="4773007"/>
                  <a:ext cx="890516" cy="4458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2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9CCDBE5F-89AF-CE92-3B4F-2F2A33026E3A}"/>
                </a:ext>
              </a:extLst>
            </p:cNvPr>
            <p:cNvGrpSpPr/>
            <p:nvPr/>
          </p:nvGrpSpPr>
          <p:grpSpPr>
            <a:xfrm>
              <a:off x="10165604" y="4268187"/>
              <a:ext cx="2528356" cy="2358676"/>
              <a:chOff x="10165604" y="4268187"/>
              <a:chExt cx="2528356" cy="2358676"/>
            </a:xfrm>
          </p:grpSpPr>
          <p:sp>
            <p:nvSpPr>
              <p:cNvPr id="9" name="任意多边形 15">
                <a:extLst>
                  <a:ext uri="{FF2B5EF4-FFF2-40B4-BE49-F238E27FC236}">
                    <a16:creationId xmlns:a16="http://schemas.microsoft.com/office/drawing/2014/main" id="{121307FB-CB74-C714-6DCE-8CDF1271CC16}"/>
                  </a:ext>
                </a:extLst>
              </p:cNvPr>
              <p:cNvSpPr/>
              <p:nvPr/>
            </p:nvSpPr>
            <p:spPr>
              <a:xfrm>
                <a:off x="11003762" y="4397507"/>
                <a:ext cx="1690198" cy="0"/>
              </a:xfrm>
              <a:custGeom>
                <a:avLst/>
                <a:gdLst>
                  <a:gd name="connsiteX0" fmla="*/ 0 w 1440180"/>
                  <a:gd name="connsiteY0" fmla="*/ 0 h 0"/>
                  <a:gd name="connsiteX1" fmla="*/ 1440180 w 144018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0180">
                    <a:moveTo>
                      <a:pt x="0" y="0"/>
                    </a:moveTo>
                    <a:lnTo>
                      <a:pt x="1440180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8" name="组合 22">
                <a:extLst>
                  <a:ext uri="{FF2B5EF4-FFF2-40B4-BE49-F238E27FC236}">
                    <a16:creationId xmlns:a16="http://schemas.microsoft.com/office/drawing/2014/main" id="{F4A109DB-22B1-0C07-C514-AE36898EA419}"/>
                  </a:ext>
                </a:extLst>
              </p:cNvPr>
              <p:cNvGrpSpPr/>
              <p:nvPr/>
            </p:nvGrpSpPr>
            <p:grpSpPr>
              <a:xfrm>
                <a:off x="10165604" y="4268187"/>
                <a:ext cx="1611576" cy="2358676"/>
                <a:chOff x="7142211" y="2491052"/>
                <a:chExt cx="1373188" cy="2009775"/>
              </a:xfrm>
              <a:solidFill>
                <a:schemeClr val="accent1"/>
              </a:solidFill>
            </p:grpSpPr>
            <p:sp>
              <p:nvSpPr>
                <p:cNvPr id="79" name="Freeform 5">
                  <a:extLst>
                    <a:ext uri="{FF2B5EF4-FFF2-40B4-BE49-F238E27FC236}">
                      <a16:creationId xmlns:a16="http://schemas.microsoft.com/office/drawing/2014/main" id="{A01288D6-0894-B703-C34F-3281C2B4B6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7142211" y="2491052"/>
                  <a:ext cx="1373188" cy="2009775"/>
                </a:xfrm>
                <a:custGeom>
                  <a:avLst/>
                  <a:gdLst>
                    <a:gd name="T0" fmla="*/ 400 w 508"/>
                    <a:gd name="T1" fmla="*/ 472 h 743"/>
                    <a:gd name="T2" fmla="*/ 489 w 508"/>
                    <a:gd name="T3" fmla="*/ 491 h 743"/>
                    <a:gd name="T4" fmla="*/ 503 w 508"/>
                    <a:gd name="T5" fmla="*/ 477 h 743"/>
                    <a:gd name="T6" fmla="*/ 430 w 508"/>
                    <a:gd name="T7" fmla="*/ 246 h 743"/>
                    <a:gd name="T8" fmla="*/ 359 w 508"/>
                    <a:gd name="T9" fmla="*/ 23 h 743"/>
                    <a:gd name="T10" fmla="*/ 330 w 508"/>
                    <a:gd name="T11" fmla="*/ 19 h 743"/>
                    <a:gd name="T12" fmla="*/ 174 w 508"/>
                    <a:gd name="T13" fmla="*/ 190 h 743"/>
                    <a:gd name="T14" fmla="*/ 13 w 508"/>
                    <a:gd name="T15" fmla="*/ 365 h 743"/>
                    <a:gd name="T16" fmla="*/ 16 w 508"/>
                    <a:gd name="T17" fmla="*/ 387 h 743"/>
                    <a:gd name="T18" fmla="*/ 125 w 508"/>
                    <a:gd name="T19" fmla="*/ 411 h 743"/>
                    <a:gd name="T20" fmla="*/ 55 w 508"/>
                    <a:gd name="T21" fmla="*/ 607 h 743"/>
                    <a:gd name="T22" fmla="*/ 62 w 508"/>
                    <a:gd name="T23" fmla="*/ 630 h 743"/>
                    <a:gd name="T24" fmla="*/ 266 w 508"/>
                    <a:gd name="T25" fmla="*/ 734 h 743"/>
                    <a:gd name="T26" fmla="*/ 294 w 508"/>
                    <a:gd name="T27" fmla="*/ 726 h 743"/>
                    <a:gd name="T28" fmla="*/ 382 w 508"/>
                    <a:gd name="T29" fmla="*/ 483 h 743"/>
                    <a:gd name="T30" fmla="*/ 385 w 508"/>
                    <a:gd name="T31" fmla="*/ 469 h 743"/>
                    <a:gd name="T32" fmla="*/ 400 w 508"/>
                    <a:gd name="T33" fmla="*/ 472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08" h="743">
                      <a:moveTo>
                        <a:pt x="400" y="472"/>
                      </a:moveTo>
                      <a:cubicBezTo>
                        <a:pt x="489" y="491"/>
                        <a:pt x="489" y="491"/>
                        <a:pt x="489" y="491"/>
                      </a:cubicBezTo>
                      <a:cubicBezTo>
                        <a:pt x="506" y="496"/>
                        <a:pt x="508" y="494"/>
                        <a:pt x="503" y="477"/>
                      </a:cubicBezTo>
                      <a:cubicBezTo>
                        <a:pt x="430" y="246"/>
                        <a:pt x="430" y="246"/>
                        <a:pt x="430" y="246"/>
                      </a:cubicBezTo>
                      <a:cubicBezTo>
                        <a:pt x="359" y="23"/>
                        <a:pt x="359" y="23"/>
                        <a:pt x="359" y="23"/>
                      </a:cubicBezTo>
                      <a:cubicBezTo>
                        <a:pt x="352" y="0"/>
                        <a:pt x="338" y="9"/>
                        <a:pt x="330" y="19"/>
                      </a:cubicBezTo>
                      <a:cubicBezTo>
                        <a:pt x="174" y="190"/>
                        <a:pt x="174" y="190"/>
                        <a:pt x="174" y="190"/>
                      </a:cubicBezTo>
                      <a:cubicBezTo>
                        <a:pt x="13" y="365"/>
                        <a:pt x="13" y="365"/>
                        <a:pt x="13" y="365"/>
                      </a:cubicBezTo>
                      <a:cubicBezTo>
                        <a:pt x="0" y="378"/>
                        <a:pt x="2" y="385"/>
                        <a:pt x="16" y="387"/>
                      </a:cubicBezTo>
                      <a:cubicBezTo>
                        <a:pt x="125" y="411"/>
                        <a:pt x="125" y="411"/>
                        <a:pt x="125" y="411"/>
                      </a:cubicBezTo>
                      <a:cubicBezTo>
                        <a:pt x="109" y="485"/>
                        <a:pt x="84" y="553"/>
                        <a:pt x="55" y="607"/>
                      </a:cubicBezTo>
                      <a:cubicBezTo>
                        <a:pt x="50" y="618"/>
                        <a:pt x="53" y="623"/>
                        <a:pt x="62" y="630"/>
                      </a:cubicBezTo>
                      <a:cubicBezTo>
                        <a:pt x="266" y="734"/>
                        <a:pt x="266" y="734"/>
                        <a:pt x="266" y="734"/>
                      </a:cubicBezTo>
                      <a:cubicBezTo>
                        <a:pt x="282" y="741"/>
                        <a:pt x="285" y="743"/>
                        <a:pt x="294" y="726"/>
                      </a:cubicBezTo>
                      <a:cubicBezTo>
                        <a:pt x="333" y="650"/>
                        <a:pt x="362" y="573"/>
                        <a:pt x="382" y="483"/>
                      </a:cubicBezTo>
                      <a:cubicBezTo>
                        <a:pt x="385" y="469"/>
                        <a:pt x="385" y="469"/>
                        <a:pt x="385" y="469"/>
                      </a:cubicBezTo>
                      <a:lnTo>
                        <a:pt x="400" y="47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矩形 24">
                  <a:extLst>
                    <a:ext uri="{FF2B5EF4-FFF2-40B4-BE49-F238E27FC236}">
                      <a16:creationId xmlns:a16="http://schemas.microsoft.com/office/drawing/2014/main" id="{0901FC84-421E-46FD-AE72-8798A831FEE2}"/>
                    </a:ext>
                  </a:extLst>
                </p:cNvPr>
                <p:cNvSpPr/>
                <p:nvPr/>
              </p:nvSpPr>
              <p:spPr>
                <a:xfrm>
                  <a:off x="7456271" y="3320767"/>
                  <a:ext cx="890516" cy="4458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3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23E6E30-4FC6-6CDA-008A-4FFA03CB11CA}"/>
                </a:ext>
              </a:extLst>
            </p:cNvPr>
            <p:cNvGrpSpPr/>
            <p:nvPr/>
          </p:nvGrpSpPr>
          <p:grpSpPr>
            <a:xfrm>
              <a:off x="5208796" y="3369581"/>
              <a:ext cx="3339081" cy="965082"/>
              <a:chOff x="5208796" y="3369581"/>
              <a:chExt cx="3339081" cy="965082"/>
            </a:xfrm>
          </p:grpSpPr>
          <p:sp>
            <p:nvSpPr>
              <p:cNvPr id="4" name="任意多边形 7">
                <a:extLst>
                  <a:ext uri="{FF2B5EF4-FFF2-40B4-BE49-F238E27FC236}">
                    <a16:creationId xmlns:a16="http://schemas.microsoft.com/office/drawing/2014/main" id="{7D80FBD9-12BC-A403-13CC-7114C40F2FD4}"/>
                  </a:ext>
                </a:extLst>
              </p:cNvPr>
              <p:cNvSpPr/>
              <p:nvPr/>
            </p:nvSpPr>
            <p:spPr>
              <a:xfrm>
                <a:off x="5208796" y="3471923"/>
                <a:ext cx="2843826" cy="0"/>
              </a:xfrm>
              <a:custGeom>
                <a:avLst/>
                <a:gdLst>
                  <a:gd name="connsiteX0" fmla="*/ 2423160 w 2423160"/>
                  <a:gd name="connsiteY0" fmla="*/ 0 h 0"/>
                  <a:gd name="connsiteX1" fmla="*/ 0 w 242316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23160">
                    <a:moveTo>
                      <a:pt x="242316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1" name="组合 25">
                <a:extLst>
                  <a:ext uri="{FF2B5EF4-FFF2-40B4-BE49-F238E27FC236}">
                    <a16:creationId xmlns:a16="http://schemas.microsoft.com/office/drawing/2014/main" id="{190AD0F5-EB40-2712-DBF0-3FCE733CDC34}"/>
                  </a:ext>
                </a:extLst>
              </p:cNvPr>
              <p:cNvGrpSpPr/>
              <p:nvPr/>
            </p:nvGrpSpPr>
            <p:grpSpPr>
              <a:xfrm>
                <a:off x="7307057" y="3369581"/>
                <a:ext cx="1240820" cy="965082"/>
                <a:chOff x="4706507" y="1725370"/>
                <a:chExt cx="1057275" cy="822325"/>
              </a:xfrm>
              <a:solidFill>
                <a:schemeClr val="accent1"/>
              </a:solidFill>
            </p:grpSpPr>
            <p:sp>
              <p:nvSpPr>
                <p:cNvPr id="82" name="Freeform 9">
                  <a:extLst>
                    <a:ext uri="{FF2B5EF4-FFF2-40B4-BE49-F238E27FC236}">
                      <a16:creationId xmlns:a16="http://schemas.microsoft.com/office/drawing/2014/main" id="{DDC4947A-C9E0-6734-7541-DB2D1371FB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4706507" y="1725370"/>
                  <a:ext cx="1057275" cy="822325"/>
                </a:xfrm>
                <a:custGeom>
                  <a:avLst/>
                  <a:gdLst>
                    <a:gd name="T0" fmla="*/ 373 w 391"/>
                    <a:gd name="T1" fmla="*/ 260 h 304"/>
                    <a:gd name="T2" fmla="*/ 390 w 391"/>
                    <a:gd name="T3" fmla="*/ 24 h 304"/>
                    <a:gd name="T4" fmla="*/ 373 w 391"/>
                    <a:gd name="T5" fmla="*/ 8 h 304"/>
                    <a:gd name="T6" fmla="*/ 14 w 391"/>
                    <a:gd name="T7" fmla="*/ 53 h 304"/>
                    <a:gd name="T8" fmla="*/ 6 w 391"/>
                    <a:gd name="T9" fmla="*/ 71 h 304"/>
                    <a:gd name="T10" fmla="*/ 92 w 391"/>
                    <a:gd name="T11" fmla="*/ 297 h 304"/>
                    <a:gd name="T12" fmla="*/ 105 w 391"/>
                    <a:gd name="T13" fmla="*/ 302 h 304"/>
                    <a:gd name="T14" fmla="*/ 357 w 391"/>
                    <a:gd name="T15" fmla="*/ 273 h 304"/>
                    <a:gd name="T16" fmla="*/ 373 w 391"/>
                    <a:gd name="T17" fmla="*/ 260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1" h="304">
                      <a:moveTo>
                        <a:pt x="373" y="260"/>
                      </a:moveTo>
                      <a:cubicBezTo>
                        <a:pt x="390" y="24"/>
                        <a:pt x="390" y="24"/>
                        <a:pt x="390" y="24"/>
                      </a:cubicBezTo>
                      <a:cubicBezTo>
                        <a:pt x="391" y="9"/>
                        <a:pt x="384" y="9"/>
                        <a:pt x="373" y="8"/>
                      </a:cubicBezTo>
                      <a:cubicBezTo>
                        <a:pt x="305" y="3"/>
                        <a:pt x="164" y="0"/>
                        <a:pt x="14" y="53"/>
                      </a:cubicBezTo>
                      <a:cubicBezTo>
                        <a:pt x="0" y="58"/>
                        <a:pt x="6" y="71"/>
                        <a:pt x="6" y="71"/>
                      </a:cubicBezTo>
                      <a:cubicBezTo>
                        <a:pt x="92" y="297"/>
                        <a:pt x="92" y="297"/>
                        <a:pt x="92" y="297"/>
                      </a:cubicBezTo>
                      <a:cubicBezTo>
                        <a:pt x="94" y="301"/>
                        <a:pt x="97" y="304"/>
                        <a:pt x="105" y="302"/>
                      </a:cubicBezTo>
                      <a:cubicBezTo>
                        <a:pt x="203" y="274"/>
                        <a:pt x="300" y="271"/>
                        <a:pt x="357" y="273"/>
                      </a:cubicBezTo>
                      <a:cubicBezTo>
                        <a:pt x="370" y="274"/>
                        <a:pt x="372" y="270"/>
                        <a:pt x="373" y="26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矩形 27">
                  <a:extLst>
                    <a:ext uri="{FF2B5EF4-FFF2-40B4-BE49-F238E27FC236}">
                      <a16:creationId xmlns:a16="http://schemas.microsoft.com/office/drawing/2014/main" id="{69860F2C-4E3F-7058-25A3-786EE5122CCB}"/>
                    </a:ext>
                  </a:extLst>
                </p:cNvPr>
                <p:cNvSpPr/>
                <p:nvPr/>
              </p:nvSpPr>
              <p:spPr>
                <a:xfrm>
                  <a:off x="4844593" y="1878759"/>
                  <a:ext cx="890516" cy="4458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4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AD9C143-914D-BC76-1548-157FA64CB464}"/>
                </a:ext>
              </a:extLst>
            </p:cNvPr>
            <p:cNvGrpSpPr/>
            <p:nvPr/>
          </p:nvGrpSpPr>
          <p:grpSpPr>
            <a:xfrm>
              <a:off x="5262453" y="4010415"/>
              <a:ext cx="2229375" cy="1192380"/>
              <a:chOff x="5262453" y="4010415"/>
              <a:chExt cx="2229375" cy="1192380"/>
            </a:xfrm>
          </p:grpSpPr>
          <p:sp>
            <p:nvSpPr>
              <p:cNvPr id="5" name="任意多边形 9">
                <a:extLst>
                  <a:ext uri="{FF2B5EF4-FFF2-40B4-BE49-F238E27FC236}">
                    <a16:creationId xmlns:a16="http://schemas.microsoft.com/office/drawing/2014/main" id="{B9274263-DD42-CA27-AA3F-B7A275C61765}"/>
                  </a:ext>
                </a:extLst>
              </p:cNvPr>
              <p:cNvSpPr/>
              <p:nvPr/>
            </p:nvSpPr>
            <p:spPr>
              <a:xfrm>
                <a:off x="5262453" y="4934078"/>
                <a:ext cx="1220699" cy="201214"/>
              </a:xfrm>
              <a:custGeom>
                <a:avLst/>
                <a:gdLst>
                  <a:gd name="connsiteX0" fmla="*/ 1040130 w 1040130"/>
                  <a:gd name="connsiteY0" fmla="*/ 0 h 171450"/>
                  <a:gd name="connsiteX1" fmla="*/ 1040130 w 1040130"/>
                  <a:gd name="connsiteY1" fmla="*/ 171450 h 171450"/>
                  <a:gd name="connsiteX2" fmla="*/ 0 w 1040130"/>
                  <a:gd name="connsiteY2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0130" h="171450">
                    <a:moveTo>
                      <a:pt x="1040130" y="0"/>
                    </a:moveTo>
                    <a:lnTo>
                      <a:pt x="1040130" y="171450"/>
                    </a:lnTo>
                    <a:lnTo>
                      <a:pt x="0" y="171450"/>
                    </a:lnTo>
                  </a:path>
                </a:pathLst>
              </a:custGeom>
              <a:noFill/>
              <a:ln w="12700">
                <a:solidFill>
                  <a:schemeClr val="accent4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4" name="组合 28">
                <a:extLst>
                  <a:ext uri="{FF2B5EF4-FFF2-40B4-BE49-F238E27FC236}">
                    <a16:creationId xmlns:a16="http://schemas.microsoft.com/office/drawing/2014/main" id="{568AB5B4-B4DB-BE2F-E5DF-7660B3FF2EA6}"/>
                  </a:ext>
                </a:extLst>
              </p:cNvPr>
              <p:cNvGrpSpPr/>
              <p:nvPr/>
            </p:nvGrpSpPr>
            <p:grpSpPr>
              <a:xfrm>
                <a:off x="6215608" y="4010415"/>
                <a:ext cx="1276220" cy="1192380"/>
                <a:chOff x="3776508" y="2271410"/>
                <a:chExt cx="1087438" cy="1016000"/>
              </a:xfrm>
              <a:solidFill>
                <a:schemeClr val="accent4"/>
              </a:solidFill>
            </p:grpSpPr>
            <p:sp>
              <p:nvSpPr>
                <p:cNvPr id="85" name="Freeform 10">
                  <a:extLst>
                    <a:ext uri="{FF2B5EF4-FFF2-40B4-BE49-F238E27FC236}">
                      <a16:creationId xmlns:a16="http://schemas.microsoft.com/office/drawing/2014/main" id="{A53816F9-D74D-00F6-C058-0EC678BE1B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3776508" y="2271410"/>
                  <a:ext cx="1087438" cy="1016000"/>
                </a:xfrm>
                <a:custGeom>
                  <a:avLst/>
                  <a:gdLst>
                    <a:gd name="T0" fmla="*/ 14 w 402"/>
                    <a:gd name="T1" fmla="*/ 233 h 376"/>
                    <a:gd name="T2" fmla="*/ 198 w 402"/>
                    <a:gd name="T3" fmla="*/ 367 h 376"/>
                    <a:gd name="T4" fmla="*/ 221 w 402"/>
                    <a:gd name="T5" fmla="*/ 366 h 376"/>
                    <a:gd name="T6" fmla="*/ 387 w 402"/>
                    <a:gd name="T7" fmla="*/ 239 h 376"/>
                    <a:gd name="T8" fmla="*/ 396 w 402"/>
                    <a:gd name="T9" fmla="*/ 214 h 376"/>
                    <a:gd name="T10" fmla="*/ 290 w 402"/>
                    <a:gd name="T11" fmla="*/ 10 h 376"/>
                    <a:gd name="T12" fmla="*/ 263 w 402"/>
                    <a:gd name="T13" fmla="*/ 6 h 376"/>
                    <a:gd name="T14" fmla="*/ 32 w 402"/>
                    <a:gd name="T15" fmla="*/ 178 h 376"/>
                    <a:gd name="T16" fmla="*/ 10 w 402"/>
                    <a:gd name="T17" fmla="*/ 202 h 376"/>
                    <a:gd name="T18" fmla="*/ 14 w 402"/>
                    <a:gd name="T19" fmla="*/ 233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2" h="376">
                      <a:moveTo>
                        <a:pt x="14" y="233"/>
                      </a:moveTo>
                      <a:cubicBezTo>
                        <a:pt x="198" y="367"/>
                        <a:pt x="198" y="367"/>
                        <a:pt x="198" y="367"/>
                      </a:cubicBezTo>
                      <a:cubicBezTo>
                        <a:pt x="204" y="372"/>
                        <a:pt x="212" y="376"/>
                        <a:pt x="221" y="366"/>
                      </a:cubicBezTo>
                      <a:cubicBezTo>
                        <a:pt x="273" y="309"/>
                        <a:pt x="329" y="271"/>
                        <a:pt x="387" y="239"/>
                      </a:cubicBezTo>
                      <a:cubicBezTo>
                        <a:pt x="401" y="232"/>
                        <a:pt x="402" y="226"/>
                        <a:pt x="396" y="214"/>
                      </a:cubicBezTo>
                      <a:cubicBezTo>
                        <a:pt x="290" y="10"/>
                        <a:pt x="290" y="10"/>
                        <a:pt x="290" y="10"/>
                      </a:cubicBezTo>
                      <a:cubicBezTo>
                        <a:pt x="286" y="3"/>
                        <a:pt x="276" y="0"/>
                        <a:pt x="263" y="6"/>
                      </a:cubicBezTo>
                      <a:cubicBezTo>
                        <a:pt x="174" y="47"/>
                        <a:pt x="98" y="108"/>
                        <a:pt x="32" y="178"/>
                      </a:cubicBezTo>
                      <a:cubicBezTo>
                        <a:pt x="25" y="186"/>
                        <a:pt x="17" y="194"/>
                        <a:pt x="10" y="202"/>
                      </a:cubicBezTo>
                      <a:cubicBezTo>
                        <a:pt x="0" y="214"/>
                        <a:pt x="3" y="225"/>
                        <a:pt x="14" y="233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  <a:lumOff val="2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矩形 30">
                  <a:extLst>
                    <a:ext uri="{FF2B5EF4-FFF2-40B4-BE49-F238E27FC236}">
                      <a16:creationId xmlns:a16="http://schemas.microsoft.com/office/drawing/2014/main" id="{E474BAD3-A836-7814-AEA7-04D886D8D255}"/>
                    </a:ext>
                  </a:extLst>
                </p:cNvPr>
                <p:cNvSpPr/>
                <p:nvPr/>
              </p:nvSpPr>
              <p:spPr>
                <a:xfrm>
                  <a:off x="3893245" y="2579028"/>
                  <a:ext cx="890516" cy="4458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5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0CE043DB-18CE-C5A3-E7FF-14C1BC142CED}"/>
                </a:ext>
              </a:extLst>
            </p:cNvPr>
            <p:cNvGrpSpPr/>
            <p:nvPr/>
          </p:nvGrpSpPr>
          <p:grpSpPr>
            <a:xfrm>
              <a:off x="5342938" y="5227279"/>
              <a:ext cx="2064704" cy="2366129"/>
              <a:chOff x="5342938" y="5227279"/>
              <a:chExt cx="2064704" cy="2366129"/>
            </a:xfrm>
          </p:grpSpPr>
          <p:sp>
            <p:nvSpPr>
              <p:cNvPr id="6" name="任意多边形 11">
                <a:extLst>
                  <a:ext uri="{FF2B5EF4-FFF2-40B4-BE49-F238E27FC236}">
                    <a16:creationId xmlns:a16="http://schemas.microsoft.com/office/drawing/2014/main" id="{6EB7E93E-F465-1C11-9C37-B290001EACE5}"/>
                  </a:ext>
                </a:extLst>
              </p:cNvPr>
              <p:cNvSpPr/>
              <p:nvPr/>
            </p:nvSpPr>
            <p:spPr>
              <a:xfrm>
                <a:off x="5342938" y="6905977"/>
                <a:ext cx="858513" cy="0"/>
              </a:xfrm>
              <a:custGeom>
                <a:avLst/>
                <a:gdLst>
                  <a:gd name="connsiteX0" fmla="*/ 731520 w 731520"/>
                  <a:gd name="connsiteY0" fmla="*/ 0 h 0"/>
                  <a:gd name="connsiteX1" fmla="*/ 0 w 73152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1520">
                    <a:moveTo>
                      <a:pt x="73152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  <a:prstDash val="dash"/>
                <a:headEnd type="oval" w="med" len="med"/>
                <a:tailEnd type="oval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7" name="组合 31">
                <a:extLst>
                  <a:ext uri="{FF2B5EF4-FFF2-40B4-BE49-F238E27FC236}">
                    <a16:creationId xmlns:a16="http://schemas.microsoft.com/office/drawing/2014/main" id="{8A8FF501-40A7-1A57-9708-FDD9A5C7BF09}"/>
                  </a:ext>
                </a:extLst>
              </p:cNvPr>
              <p:cNvGrpSpPr/>
              <p:nvPr/>
            </p:nvGrpSpPr>
            <p:grpSpPr>
              <a:xfrm>
                <a:off x="5779298" y="5227279"/>
                <a:ext cx="1628344" cy="2366129"/>
                <a:chOff x="3404738" y="3308273"/>
                <a:chExt cx="1387475" cy="2016125"/>
              </a:xfrm>
              <a:solidFill>
                <a:schemeClr val="accent1"/>
              </a:solidFill>
            </p:grpSpPr>
            <p:sp>
              <p:nvSpPr>
                <p:cNvPr id="88" name="Freeform 11">
                  <a:extLst>
                    <a:ext uri="{FF2B5EF4-FFF2-40B4-BE49-F238E27FC236}">
                      <a16:creationId xmlns:a16="http://schemas.microsoft.com/office/drawing/2014/main" id="{D90E8199-D96B-7866-B3B9-1FC39E0A1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700000">
                  <a:off x="3404738" y="3308273"/>
                  <a:ext cx="1387475" cy="2016125"/>
                </a:xfrm>
                <a:custGeom>
                  <a:avLst/>
                  <a:gdLst>
                    <a:gd name="T0" fmla="*/ 109 w 513"/>
                    <a:gd name="T1" fmla="*/ 277 h 745"/>
                    <a:gd name="T2" fmla="*/ 19 w 513"/>
                    <a:gd name="T3" fmla="*/ 262 h 745"/>
                    <a:gd name="T4" fmla="*/ 5 w 513"/>
                    <a:gd name="T5" fmla="*/ 277 h 745"/>
                    <a:gd name="T6" fmla="*/ 92 w 513"/>
                    <a:gd name="T7" fmla="*/ 504 h 745"/>
                    <a:gd name="T8" fmla="*/ 175 w 513"/>
                    <a:gd name="T9" fmla="*/ 722 h 745"/>
                    <a:gd name="T10" fmla="*/ 204 w 513"/>
                    <a:gd name="T11" fmla="*/ 725 h 745"/>
                    <a:gd name="T12" fmla="*/ 351 w 513"/>
                    <a:gd name="T13" fmla="*/ 546 h 745"/>
                    <a:gd name="T14" fmla="*/ 500 w 513"/>
                    <a:gd name="T15" fmla="*/ 362 h 745"/>
                    <a:gd name="T16" fmla="*/ 497 w 513"/>
                    <a:gd name="T17" fmla="*/ 339 h 745"/>
                    <a:gd name="T18" fmla="*/ 387 w 513"/>
                    <a:gd name="T19" fmla="*/ 321 h 745"/>
                    <a:gd name="T20" fmla="*/ 445 w 513"/>
                    <a:gd name="T21" fmla="*/ 122 h 745"/>
                    <a:gd name="T22" fmla="*/ 437 w 513"/>
                    <a:gd name="T23" fmla="*/ 100 h 745"/>
                    <a:gd name="T24" fmla="*/ 227 w 513"/>
                    <a:gd name="T25" fmla="*/ 8 h 745"/>
                    <a:gd name="T26" fmla="*/ 200 w 513"/>
                    <a:gd name="T27" fmla="*/ 17 h 745"/>
                    <a:gd name="T28" fmla="*/ 126 w 513"/>
                    <a:gd name="T29" fmla="*/ 264 h 745"/>
                    <a:gd name="T30" fmla="*/ 124 w 513"/>
                    <a:gd name="T31" fmla="*/ 279 h 745"/>
                    <a:gd name="T32" fmla="*/ 109 w 513"/>
                    <a:gd name="T33" fmla="*/ 277 h 7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3" h="745">
                      <a:moveTo>
                        <a:pt x="109" y="277"/>
                      </a:moveTo>
                      <a:cubicBezTo>
                        <a:pt x="19" y="262"/>
                        <a:pt x="19" y="262"/>
                        <a:pt x="19" y="262"/>
                      </a:cubicBezTo>
                      <a:cubicBezTo>
                        <a:pt x="1" y="259"/>
                        <a:pt x="0" y="261"/>
                        <a:pt x="5" y="277"/>
                      </a:cubicBezTo>
                      <a:cubicBezTo>
                        <a:pt x="92" y="504"/>
                        <a:pt x="92" y="504"/>
                        <a:pt x="92" y="504"/>
                      </a:cubicBezTo>
                      <a:cubicBezTo>
                        <a:pt x="175" y="722"/>
                        <a:pt x="175" y="722"/>
                        <a:pt x="175" y="722"/>
                      </a:cubicBezTo>
                      <a:cubicBezTo>
                        <a:pt x="184" y="745"/>
                        <a:pt x="197" y="735"/>
                        <a:pt x="204" y="725"/>
                      </a:cubicBezTo>
                      <a:cubicBezTo>
                        <a:pt x="351" y="546"/>
                        <a:pt x="351" y="546"/>
                        <a:pt x="351" y="546"/>
                      </a:cubicBezTo>
                      <a:cubicBezTo>
                        <a:pt x="500" y="362"/>
                        <a:pt x="500" y="362"/>
                        <a:pt x="500" y="362"/>
                      </a:cubicBezTo>
                      <a:cubicBezTo>
                        <a:pt x="513" y="347"/>
                        <a:pt x="511" y="341"/>
                        <a:pt x="497" y="339"/>
                      </a:cubicBezTo>
                      <a:cubicBezTo>
                        <a:pt x="387" y="321"/>
                        <a:pt x="387" y="321"/>
                        <a:pt x="387" y="321"/>
                      </a:cubicBezTo>
                      <a:cubicBezTo>
                        <a:pt x="398" y="247"/>
                        <a:pt x="420" y="178"/>
                        <a:pt x="445" y="122"/>
                      </a:cubicBezTo>
                      <a:cubicBezTo>
                        <a:pt x="450" y="111"/>
                        <a:pt x="447" y="106"/>
                        <a:pt x="437" y="100"/>
                      </a:cubicBezTo>
                      <a:cubicBezTo>
                        <a:pt x="227" y="8"/>
                        <a:pt x="227" y="8"/>
                        <a:pt x="227" y="8"/>
                      </a:cubicBezTo>
                      <a:cubicBezTo>
                        <a:pt x="211" y="1"/>
                        <a:pt x="208" y="0"/>
                        <a:pt x="200" y="17"/>
                      </a:cubicBezTo>
                      <a:cubicBezTo>
                        <a:pt x="165" y="95"/>
                        <a:pt x="141" y="174"/>
                        <a:pt x="126" y="264"/>
                      </a:cubicBezTo>
                      <a:cubicBezTo>
                        <a:pt x="124" y="279"/>
                        <a:pt x="124" y="279"/>
                        <a:pt x="124" y="279"/>
                      </a:cubicBezTo>
                      <a:lnTo>
                        <a:pt x="109" y="27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矩形 33">
                  <a:extLst>
                    <a:ext uri="{FF2B5EF4-FFF2-40B4-BE49-F238E27FC236}">
                      <a16:creationId xmlns:a16="http://schemas.microsoft.com/office/drawing/2014/main" id="{6EBC824E-A7F1-C48D-BC63-1689355A9480}"/>
                    </a:ext>
                  </a:extLst>
                </p:cNvPr>
                <p:cNvSpPr/>
                <p:nvPr/>
              </p:nvSpPr>
              <p:spPr>
                <a:xfrm>
                  <a:off x="3604706" y="4140342"/>
                  <a:ext cx="890516" cy="4458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06</a:t>
                  </a:r>
                  <a:endParaRPr lang="zh-CN" altLang="en-US" sz="28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844DD38-1CCF-CB88-7D1D-6661CBA436F1}"/>
                </a:ext>
              </a:extLst>
            </p:cNvPr>
            <p:cNvGrpSpPr/>
            <p:nvPr/>
          </p:nvGrpSpPr>
          <p:grpSpPr>
            <a:xfrm>
              <a:off x="7705483" y="4828043"/>
              <a:ext cx="2103433" cy="2103432"/>
              <a:chOff x="7705483" y="4828043"/>
              <a:chExt cx="2103433" cy="2103432"/>
            </a:xfrm>
          </p:grpSpPr>
          <p:sp>
            <p:nvSpPr>
              <p:cNvPr id="35" name="Oval 8">
                <a:extLst>
                  <a:ext uri="{FF2B5EF4-FFF2-40B4-BE49-F238E27FC236}">
                    <a16:creationId xmlns:a16="http://schemas.microsoft.com/office/drawing/2014/main" id="{48ADD02F-B529-8E41-936F-45301345C8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700000">
                <a:off x="7705483" y="4828043"/>
                <a:ext cx="2103433" cy="2103432"/>
              </a:xfrm>
              <a:prstGeom prst="ellipse">
                <a:avLst/>
              </a:prstGeom>
              <a:solidFill>
                <a:schemeClr val="accent3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Oval 8">
                <a:extLst>
                  <a:ext uri="{FF2B5EF4-FFF2-40B4-BE49-F238E27FC236}">
                    <a16:creationId xmlns:a16="http://schemas.microsoft.com/office/drawing/2014/main" id="{42769E76-69F8-DAC2-888D-C8785976AB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700000">
                <a:off x="7963147" y="5085708"/>
                <a:ext cx="1588104" cy="1588103"/>
              </a:xfrm>
              <a:prstGeom prst="ellipse">
                <a:avLst/>
              </a:prstGeom>
              <a:solidFill>
                <a:schemeClr val="accent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4382AB9-897C-D94E-B633-AB0EFC6B7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901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32</TotalTime>
  <Words>102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rocess Slide – Business Workflo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43</cp:revision>
  <dcterms:created xsi:type="dcterms:W3CDTF">2006-08-16T00:00:00Z</dcterms:created>
  <dcterms:modified xsi:type="dcterms:W3CDTF">2025-10-06T09:36:51Z</dcterms:modified>
  <cp:category/>
  <dc:identifier>DAGkDf5R9EM</dc:identifier>
</cp:coreProperties>
</file>